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  <p:sldMasterId id="2147483696" r:id="rId3"/>
  </p:sldMasterIdLst>
  <p:notesMasterIdLst>
    <p:notesMasterId r:id="rId8"/>
  </p:notesMasterIdLst>
  <p:sldIdLst>
    <p:sldId id="266" r:id="rId4"/>
    <p:sldId id="283" r:id="rId5"/>
    <p:sldId id="275" r:id="rId6"/>
    <p:sldId id="267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8283"/>
    <a:srgbClr val="3EA0A2"/>
    <a:srgbClr val="297172"/>
    <a:srgbClr val="EC7700"/>
    <a:srgbClr val="11CCC1"/>
    <a:srgbClr val="F7C830"/>
    <a:srgbClr val="3D9FA0"/>
    <a:srgbClr val="2A7475"/>
    <a:srgbClr val="B45900"/>
    <a:srgbClr val="B72F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802" y="6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93A707-DFE5-4D06-B8F2-4FF8E97F67BC}" type="datetimeFigureOut">
              <a:rPr lang="en-US" smtClean="0"/>
              <a:t>6/1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92D46B-6C66-4CC5-B961-1775D980CF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1668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E2352-B8C0-424D-8353-27ADCD6ABF3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D77C7-4B16-495F-B6E8-4BAEAF3DCC35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0295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E2352-B8C0-424D-8353-27ADCD6ABF3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D77C7-4B16-495F-B6E8-4BAEAF3DCC35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2298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E2352-B8C0-424D-8353-27ADCD6ABF3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D77C7-4B16-495F-B6E8-4BAEAF3DCC35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00515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E4753-0486-449D-A4C6-DABB31BCD55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3000A8-FEB6-4227-B173-1C3201CC234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936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E4753-0486-449D-A4C6-DABB31BCD55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3000A8-FEB6-4227-B173-1C3201CC234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774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E4753-0486-449D-A4C6-DABB31BCD55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3000A8-FEB6-4227-B173-1C3201CC234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3090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E4753-0486-449D-A4C6-DABB31BCD55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3000A8-FEB6-4227-B173-1C3201CC234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6802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E4753-0486-449D-A4C6-DABB31BCD55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3000A8-FEB6-4227-B173-1C3201CC234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8846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E4753-0486-449D-A4C6-DABB31BCD55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3000A8-FEB6-4227-B173-1C3201CC234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1663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E4753-0486-449D-A4C6-DABB31BCD55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3000A8-FEB6-4227-B173-1C3201CC234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7123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E4753-0486-449D-A4C6-DABB31BCD55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3000A8-FEB6-4227-B173-1C3201CC234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64788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32992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E2352-B8C0-424D-8353-27ADCD6ABF3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D77C7-4B16-495F-B6E8-4BAEAF3DCC35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3706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E4753-0486-449D-A4C6-DABB31BCD55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3000A8-FEB6-4227-B173-1C3201CC234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87734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E4753-0486-449D-A4C6-DABB31BCD55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3000A8-FEB6-4227-B173-1C3201CC234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9092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E4753-0486-449D-A4C6-DABB31BCD55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3000A8-FEB6-4227-B173-1C3201CC234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3637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1DD5D-825D-4DD7-BEE5-55C4F650B9C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3791A-E968-4B82-9254-2712622875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6128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1DD5D-825D-4DD7-BEE5-55C4F650B9C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3791A-E968-4B82-9254-2712622875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0942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1DD5D-825D-4DD7-BEE5-55C4F650B9C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3791A-E968-4B82-9254-2712622875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30273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1DD5D-825D-4DD7-BEE5-55C4F650B9C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3791A-E968-4B82-9254-2712622875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3434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1DD5D-825D-4DD7-BEE5-55C4F650B9C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3791A-E968-4B82-9254-2712622875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5582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1DD5D-825D-4DD7-BEE5-55C4F650B9C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3791A-E968-4B82-9254-2712622875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58791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1DD5D-825D-4DD7-BEE5-55C4F650B9C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3791A-E968-4B82-9254-2712622875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18498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E2352-B8C0-424D-8353-27ADCD6ABF3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D77C7-4B16-495F-B6E8-4BAEAF3DCC35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0622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1DD5D-825D-4DD7-BEE5-55C4F650B9C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3791A-E968-4B82-9254-2712622875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6462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1DD5D-825D-4DD7-BEE5-55C4F650B9C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3791A-E968-4B82-9254-2712622875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6741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1DD5D-825D-4DD7-BEE5-55C4F650B9C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3791A-E968-4B82-9254-2712622875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2858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1DD5D-825D-4DD7-BEE5-55C4F650B9C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3791A-E968-4B82-9254-2712622875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69114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E2352-B8C0-424D-8353-27ADCD6ABF3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D77C7-4B16-495F-B6E8-4BAEAF3DCC35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3770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E2352-B8C0-424D-8353-27ADCD6ABF3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D77C7-4B16-495F-B6E8-4BAEAF3DCC35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1730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E2352-B8C0-424D-8353-27ADCD6ABF3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D77C7-4B16-495F-B6E8-4BAEAF3DCC35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519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E2352-B8C0-424D-8353-27ADCD6ABF3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D77C7-4B16-495F-B6E8-4BAEAF3DCC35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6904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E2352-B8C0-424D-8353-27ADCD6ABF3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D77C7-4B16-495F-B6E8-4BAEAF3DCC35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8988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E2352-B8C0-424D-8353-27ADCD6ABF3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D77C7-4B16-495F-B6E8-4BAEAF3DCC35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0619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97399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CE2352-B8C0-424D-8353-27ADCD6ABF3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4D77C7-4B16-495F-B6E8-4BAEAF3DCC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925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DE4753-0486-449D-A4C6-DABB31BCD55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3000A8-FEB6-4227-B173-1C3201CC234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551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51DD5D-825D-4DD7-BEE5-55C4F650B9C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F3791A-E968-4B82-9254-2712622875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016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3178"/>
            <a:ext cx="12230101" cy="6871177"/>
          </a:xfrm>
          <a:prstGeom prst="rect">
            <a:avLst/>
          </a:prstGeom>
        </p:spPr>
      </p:pic>
      <p:sp>
        <p:nvSpPr>
          <p:cNvPr id="5" name="Freeform 4"/>
          <p:cNvSpPr/>
          <p:nvPr/>
        </p:nvSpPr>
        <p:spPr>
          <a:xfrm>
            <a:off x="0" y="-13177"/>
            <a:ext cx="12230101" cy="6901528"/>
          </a:xfrm>
          <a:custGeom>
            <a:avLst/>
            <a:gdLst>
              <a:gd name="connsiteX0" fmla="*/ 12211052 w 12230101"/>
              <a:gd name="connsiteY0" fmla="*/ 0 h 6901528"/>
              <a:gd name="connsiteX1" fmla="*/ 12230101 w 12230101"/>
              <a:gd name="connsiteY1" fmla="*/ 6305926 h 6901528"/>
              <a:gd name="connsiteX2" fmla="*/ 12211589 w 12230101"/>
              <a:gd name="connsiteY2" fmla="*/ 2344819 h 6901528"/>
              <a:gd name="connsiteX3" fmla="*/ 9582798 w 12230101"/>
              <a:gd name="connsiteY3" fmla="*/ 6639563 h 6901528"/>
              <a:gd name="connsiteX4" fmla="*/ 9296400 w 12230101"/>
              <a:gd name="connsiteY4" fmla="*/ 6901528 h 6901528"/>
              <a:gd name="connsiteX5" fmla="*/ 9296400 w 12230101"/>
              <a:gd name="connsiteY5" fmla="*/ 6871176 h 6901528"/>
              <a:gd name="connsiteX6" fmla="*/ 75166 w 12230101"/>
              <a:gd name="connsiteY6" fmla="*/ 6871176 h 6901528"/>
              <a:gd name="connsiteX7" fmla="*/ 0 w 12230101"/>
              <a:gd name="connsiteY7" fmla="*/ 6827608 h 6901528"/>
              <a:gd name="connsiteX8" fmla="*/ 0 w 12230101"/>
              <a:gd name="connsiteY8" fmla="*/ 2919538 h 6901528"/>
              <a:gd name="connsiteX9" fmla="*/ 10227214 w 12230101"/>
              <a:gd name="connsiteY9" fmla="*/ 13944 h 6901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30101" h="6901528">
                <a:moveTo>
                  <a:pt x="12211052" y="0"/>
                </a:moveTo>
                <a:lnTo>
                  <a:pt x="12230101" y="6305926"/>
                </a:lnTo>
                <a:cubicBezTo>
                  <a:pt x="12223929" y="4985558"/>
                  <a:pt x="12217761" y="3665187"/>
                  <a:pt x="12211589" y="2344819"/>
                </a:cubicBezTo>
                <a:cubicBezTo>
                  <a:pt x="11882581" y="3281128"/>
                  <a:pt x="11074706" y="5194073"/>
                  <a:pt x="9582798" y="6639563"/>
                </a:cubicBezTo>
                <a:lnTo>
                  <a:pt x="9296400" y="6901528"/>
                </a:lnTo>
                <a:lnTo>
                  <a:pt x="9296400" y="6871176"/>
                </a:lnTo>
                <a:lnTo>
                  <a:pt x="75166" y="6871176"/>
                </a:lnTo>
                <a:lnTo>
                  <a:pt x="0" y="6827608"/>
                </a:lnTo>
                <a:lnTo>
                  <a:pt x="0" y="2919538"/>
                </a:lnTo>
                <a:cubicBezTo>
                  <a:pt x="5111897" y="4493839"/>
                  <a:pt x="7986425" y="1804805"/>
                  <a:pt x="10227214" y="13944"/>
                </a:cubicBezTo>
                <a:close/>
              </a:path>
            </a:pathLst>
          </a:custGeom>
          <a:gradFill flip="none" rotWithShape="1">
            <a:gsLst>
              <a:gs pos="0">
                <a:srgbClr val="FF0000">
                  <a:alpha val="60000"/>
                </a:srgbClr>
              </a:gs>
              <a:gs pos="100000">
                <a:srgbClr val="EA4A4A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74906" y="3748265"/>
            <a:ext cx="11562217" cy="2554545"/>
            <a:chOff x="274906" y="3748265"/>
            <a:chExt cx="11563857" cy="2554545"/>
          </a:xfrm>
        </p:grpSpPr>
        <p:sp>
          <p:nvSpPr>
            <p:cNvPr id="3" name="TextBox 2"/>
            <p:cNvSpPr txBox="1"/>
            <p:nvPr/>
          </p:nvSpPr>
          <p:spPr>
            <a:xfrm>
              <a:off x="274906" y="3748265"/>
              <a:ext cx="6781800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400" b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rPr>
                <a:t>Final Project</a:t>
              </a:r>
            </a:p>
            <a:p>
              <a:r>
                <a:rPr lang="en-US" sz="4400" b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rPr>
                <a:t>Group 5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5877601" y="3748265"/>
              <a:ext cx="5961162" cy="2554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b="1" i="0" dirty="0" err="1">
                  <a:solidFill>
                    <a:schemeClr val="bg1"/>
                  </a:solidFill>
                  <a:effectLst/>
                  <a:latin typeface="Whitney"/>
                </a:rPr>
                <a:t>Zulkarnain</a:t>
              </a:r>
              <a:r>
                <a:rPr lang="en-US" sz="3200" b="1" i="0" dirty="0">
                  <a:solidFill>
                    <a:schemeClr val="bg1"/>
                  </a:solidFill>
                  <a:effectLst/>
                  <a:latin typeface="Whitney"/>
                </a:rPr>
                <a:t> </a:t>
              </a:r>
              <a:r>
                <a:rPr lang="en-US" sz="3200" b="1" i="0" dirty="0" err="1">
                  <a:solidFill>
                    <a:schemeClr val="bg1"/>
                  </a:solidFill>
                  <a:effectLst/>
                  <a:latin typeface="Whitney"/>
                </a:rPr>
                <a:t>Blongkod</a:t>
              </a:r>
              <a:r>
                <a:rPr lang="en-US" sz="3200" b="1" i="0" dirty="0">
                  <a:solidFill>
                    <a:schemeClr val="bg1"/>
                  </a:solidFill>
                  <a:effectLst/>
                  <a:latin typeface="Whitney"/>
                </a:rPr>
                <a:t> </a:t>
              </a:r>
            </a:p>
            <a:p>
              <a:r>
                <a:rPr lang="en-US" sz="3200" b="1" i="0" dirty="0">
                  <a:solidFill>
                    <a:schemeClr val="bg1"/>
                  </a:solidFill>
                  <a:effectLst/>
                  <a:latin typeface="Whitney"/>
                </a:rPr>
                <a:t>Taofik Haryanto</a:t>
              </a:r>
            </a:p>
            <a:p>
              <a:r>
                <a:rPr lang="en-US" sz="3200" b="1" i="0" dirty="0" err="1">
                  <a:solidFill>
                    <a:schemeClr val="bg1"/>
                  </a:solidFill>
                  <a:effectLst/>
                  <a:latin typeface="Whitney"/>
                </a:rPr>
                <a:t>Syifa</a:t>
              </a:r>
              <a:r>
                <a:rPr lang="en-US" sz="3200" b="1" i="0" dirty="0">
                  <a:solidFill>
                    <a:schemeClr val="bg1"/>
                  </a:solidFill>
                  <a:effectLst/>
                  <a:latin typeface="Whitney"/>
                </a:rPr>
                <a:t> </a:t>
              </a:r>
              <a:r>
                <a:rPr lang="en-US" sz="3200" b="1" i="0" dirty="0" err="1">
                  <a:solidFill>
                    <a:schemeClr val="bg1"/>
                  </a:solidFill>
                  <a:effectLst/>
                  <a:latin typeface="Whitney"/>
                </a:rPr>
                <a:t>Trianingsih</a:t>
              </a:r>
              <a:r>
                <a:rPr lang="en-US" sz="3200" b="1" i="0" dirty="0">
                  <a:solidFill>
                    <a:schemeClr val="bg1"/>
                  </a:solidFill>
                  <a:effectLst/>
                  <a:latin typeface="Whitney"/>
                </a:rPr>
                <a:t> </a:t>
              </a:r>
            </a:p>
            <a:p>
              <a:r>
                <a:rPr lang="en-US" sz="3200" b="1" dirty="0" err="1">
                  <a:solidFill>
                    <a:schemeClr val="bg1"/>
                  </a:solidFill>
                  <a:latin typeface="Whitney"/>
                </a:rPr>
                <a:t>Rendra</a:t>
              </a:r>
              <a:r>
                <a:rPr lang="en-US" sz="3200" b="1" dirty="0">
                  <a:solidFill>
                    <a:schemeClr val="bg1"/>
                  </a:solidFill>
                  <a:latin typeface="Whitney"/>
                </a:rPr>
                <a:t> </a:t>
              </a:r>
              <a:r>
                <a:rPr lang="en-US" sz="3200" b="1" dirty="0" err="1">
                  <a:solidFill>
                    <a:schemeClr val="bg1"/>
                  </a:solidFill>
                  <a:latin typeface="Whitney"/>
                </a:rPr>
                <a:t>Nursalam</a:t>
              </a:r>
              <a:endParaRPr 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endParaRPr>
            </a:p>
            <a:p>
              <a:r>
                <a:rPr lang="en-US" sz="3200" b="1" i="0" dirty="0" err="1">
                  <a:solidFill>
                    <a:schemeClr val="bg1"/>
                  </a:solidFill>
                  <a:effectLst/>
                  <a:latin typeface="Whitney"/>
                </a:rPr>
                <a:t>Darfan</a:t>
              </a:r>
              <a:r>
                <a:rPr lang="en-US" sz="3200" b="1" i="0" dirty="0">
                  <a:solidFill>
                    <a:schemeClr val="bg1"/>
                  </a:solidFill>
                  <a:effectLst/>
                  <a:latin typeface="Whitney"/>
                </a:rPr>
                <a:t> </a:t>
              </a:r>
              <a:r>
                <a:rPr lang="en-US" sz="3200" b="1" i="0" dirty="0" err="1">
                  <a:solidFill>
                    <a:schemeClr val="bg1"/>
                  </a:solidFill>
                  <a:effectLst/>
                  <a:latin typeface="Whitney"/>
                </a:rPr>
                <a:t>Wongso</a:t>
              </a:r>
              <a:endParaRPr lang="en-US" sz="3200" b="1" i="0" dirty="0">
                <a:solidFill>
                  <a:schemeClr val="bg1"/>
                </a:solidFill>
                <a:effectLst/>
                <a:latin typeface="Whitney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9812290B-F856-4388-B91F-FBC3B72B6B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64484" y="127852"/>
            <a:ext cx="1553179" cy="697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384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/>
          <p:cNvSpPr/>
          <p:nvPr/>
        </p:nvSpPr>
        <p:spPr>
          <a:xfrm>
            <a:off x="342453" y="1032604"/>
            <a:ext cx="11627471" cy="5825396"/>
          </a:xfrm>
          <a:prstGeom prst="rect">
            <a:avLst/>
          </a:prstGeom>
          <a:gradFill flip="none" rotWithShape="1">
            <a:gsLst>
              <a:gs pos="0">
                <a:srgbClr val="FAFBFD"/>
              </a:gs>
              <a:gs pos="84000">
                <a:srgbClr val="CEDCE9"/>
              </a:gs>
              <a:gs pos="100000">
                <a:srgbClr val="CFDBE9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64990" y="41091"/>
            <a:ext cx="10469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prstClr val="black"/>
                </a:solidFill>
                <a:latin typeface="Century" panose="02040604050505020304" pitchFamily="18" charset="0"/>
              </a:rPr>
              <a:t>Our Final Project</a:t>
            </a:r>
          </a:p>
        </p:txBody>
      </p:sp>
      <p:sp>
        <p:nvSpPr>
          <p:cNvPr id="5" name="Rectangle 4"/>
          <p:cNvSpPr/>
          <p:nvPr/>
        </p:nvSpPr>
        <p:spPr>
          <a:xfrm>
            <a:off x="920904" y="907762"/>
            <a:ext cx="11064240" cy="457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72663" y="907762"/>
            <a:ext cx="8383170" cy="1834955"/>
            <a:chOff x="357673" y="832812"/>
            <a:chExt cx="8383170" cy="1834955"/>
          </a:xfrm>
        </p:grpSpPr>
        <p:grpSp>
          <p:nvGrpSpPr>
            <p:cNvPr id="29" name="Group 28"/>
            <p:cNvGrpSpPr/>
            <p:nvPr/>
          </p:nvGrpSpPr>
          <p:grpSpPr>
            <a:xfrm>
              <a:off x="357673" y="832812"/>
              <a:ext cx="8383170" cy="1810284"/>
              <a:chOff x="357673" y="832812"/>
              <a:chExt cx="8383170" cy="1810284"/>
            </a:xfrm>
          </p:grpSpPr>
          <p:sp>
            <p:nvSpPr>
              <p:cNvPr id="7" name="Rectangle 6"/>
              <p:cNvSpPr/>
              <p:nvPr/>
            </p:nvSpPr>
            <p:spPr>
              <a:xfrm>
                <a:off x="357673" y="832812"/>
                <a:ext cx="578223" cy="4572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>
                <a:off x="1948149" y="1319657"/>
                <a:ext cx="6792694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400" b="1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DTS PRO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bertujuan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untuk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memfasilitasi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alih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kompetensi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dan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meningkatkan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daya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saing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sumber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daya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manusia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Indonesia di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bidang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TIK</a:t>
                </a:r>
              </a:p>
              <a:p>
                <a:pPr marL="285750" indent="-285750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400" b="1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Peserta</a:t>
                </a:r>
                <a:r>
                  <a:rPr lang="en-US" sz="1400" b="1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b="1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Pelatihan</a:t>
                </a:r>
                <a:r>
                  <a:rPr lang="en-US" sz="1400" b="1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Python 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DTS PRO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telah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mempelajari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bahasa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pemrograman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python level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dasar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dan intermediate</a:t>
                </a:r>
                <a:r>
                  <a:rPr lang="en-US" sz="1400" b="1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.</a:t>
                </a:r>
              </a:p>
              <a:p>
                <a:pPr marL="285750" indent="-285750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400" b="1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Final Project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sebagai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salah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satu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tolok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ukur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pemahaman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materi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sz="1400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pelatihan</a:t>
                </a:r>
                <a:r>
                  <a:rPr lang="en-US" sz="1400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999187" y="1387256"/>
                <a:ext cx="1241611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600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01</a:t>
                </a: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2090778" y="995059"/>
                <a:ext cx="340042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 err="1">
                    <a:solidFill>
                      <a:prstClr val="black"/>
                    </a:solidFill>
                    <a:latin typeface="Century" panose="02040604050505020304" pitchFamily="18" charset="0"/>
                  </a:rPr>
                  <a:t>Latar</a:t>
                </a:r>
                <a:r>
                  <a:rPr lang="en-US" b="1" dirty="0">
                    <a:solidFill>
                      <a:prstClr val="black"/>
                    </a:solidFill>
                    <a:latin typeface="Century" panose="02040604050505020304" pitchFamily="18" charset="0"/>
                  </a:rPr>
                  <a:t> </a:t>
                </a:r>
                <a:r>
                  <a:rPr lang="en-US" b="1" dirty="0" err="1">
                    <a:solidFill>
                      <a:srgbClr val="FF0000"/>
                    </a:solidFill>
                    <a:latin typeface="Century" panose="02040604050505020304" pitchFamily="18" charset="0"/>
                  </a:rPr>
                  <a:t>Belakang</a:t>
                </a:r>
                <a:endParaRPr lang="en-US" b="1" dirty="0">
                  <a:solidFill>
                    <a:srgbClr val="FF0000"/>
                  </a:solidFill>
                  <a:latin typeface="Century" panose="02040604050505020304" pitchFamily="18" charset="0"/>
                </a:endParaRPr>
              </a:p>
            </p:txBody>
          </p:sp>
        </p:grpSp>
        <p:cxnSp>
          <p:nvCxnSpPr>
            <p:cNvPr id="14" name="Straight Connector 13"/>
            <p:cNvCxnSpPr/>
            <p:nvPr/>
          </p:nvCxnSpPr>
          <p:spPr>
            <a:xfrm>
              <a:off x="951238" y="2667767"/>
              <a:ext cx="7315200" cy="0"/>
            </a:xfrm>
            <a:prstGeom prst="line">
              <a:avLst/>
            </a:prstGeom>
            <a:ln w="63500">
              <a:gradFill flip="none" rotWithShape="1">
                <a:gsLst>
                  <a:gs pos="0">
                    <a:srgbClr val="FF0000"/>
                  </a:gs>
                  <a:gs pos="52000">
                    <a:srgbClr val="FF0000"/>
                  </a:gs>
                  <a:gs pos="100000">
                    <a:srgbClr val="C00000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/>
          <p:cNvGrpSpPr/>
          <p:nvPr/>
        </p:nvGrpSpPr>
        <p:grpSpPr>
          <a:xfrm>
            <a:off x="1043618" y="4947703"/>
            <a:ext cx="7356010" cy="1445685"/>
            <a:chOff x="1077017" y="4991456"/>
            <a:chExt cx="7356010" cy="1445685"/>
          </a:xfrm>
        </p:grpSpPr>
        <p:sp>
          <p:nvSpPr>
            <p:cNvPr id="16" name="TextBox 15"/>
            <p:cNvSpPr txBox="1"/>
            <p:nvPr/>
          </p:nvSpPr>
          <p:spPr>
            <a:xfrm>
              <a:off x="2197409" y="5359152"/>
              <a:ext cx="6235618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Membuat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kombinasi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angka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dan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huruf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untuk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membuat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hexacode 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Menampilkan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warna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sesuai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hexacode yang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dihasilkan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Menghasilkan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kombinasi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yang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berbeda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setiap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saat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115220" y="5144847"/>
              <a:ext cx="1241611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0" dirty="0">
                  <a:solidFill>
                    <a:prstClr val="black"/>
                  </a:solidFill>
                  <a:latin typeface="Century Gothic" panose="020B0502020202020204" pitchFamily="34" charset="0"/>
                </a:rPr>
                <a:t>03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348022" y="4991456"/>
              <a:ext cx="340042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prstClr val="black"/>
                  </a:solidFill>
                  <a:latin typeface="Century" panose="02040604050505020304" pitchFamily="18" charset="0"/>
                </a:rPr>
                <a:t>Random </a:t>
              </a:r>
              <a:r>
                <a:rPr lang="en-US" b="1" dirty="0">
                  <a:solidFill>
                    <a:srgbClr val="297172"/>
                  </a:solidFill>
                  <a:latin typeface="Century" panose="02040604050505020304" pitchFamily="18" charset="0"/>
                </a:rPr>
                <a:t>Color </a:t>
              </a:r>
              <a:r>
                <a:rPr lang="en-US" b="1" dirty="0">
                  <a:solidFill>
                    <a:srgbClr val="00B050"/>
                  </a:solidFill>
                  <a:latin typeface="Century" panose="02040604050505020304" pitchFamily="18" charset="0"/>
                </a:rPr>
                <a:t>Generator</a:t>
              </a:r>
            </a:p>
          </p:txBody>
        </p:sp>
        <p:cxnSp>
          <p:nvCxnSpPr>
            <p:cNvPr id="21" name="Straight Connector 20"/>
            <p:cNvCxnSpPr/>
            <p:nvPr/>
          </p:nvCxnSpPr>
          <p:spPr>
            <a:xfrm>
              <a:off x="1077017" y="6437141"/>
              <a:ext cx="7315200" cy="0"/>
            </a:xfrm>
            <a:prstGeom prst="line">
              <a:avLst/>
            </a:prstGeom>
            <a:ln w="63500">
              <a:gradFill flip="none" rotWithShape="1">
                <a:gsLst>
                  <a:gs pos="0">
                    <a:srgbClr val="3D9FA1"/>
                  </a:gs>
                  <a:gs pos="50000">
                    <a:srgbClr val="3EA0A1"/>
                  </a:gs>
                  <a:gs pos="100000">
                    <a:srgbClr val="286F70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/>
          <p:cNvGrpSpPr/>
          <p:nvPr/>
        </p:nvGrpSpPr>
        <p:grpSpPr>
          <a:xfrm>
            <a:off x="557561" y="3001330"/>
            <a:ext cx="7589520" cy="1627886"/>
            <a:chOff x="530914" y="2928066"/>
            <a:chExt cx="7589520" cy="1627886"/>
          </a:xfrm>
        </p:grpSpPr>
        <p:sp>
          <p:nvSpPr>
            <p:cNvPr id="22" name="TextBox 21"/>
            <p:cNvSpPr txBox="1"/>
            <p:nvPr/>
          </p:nvSpPr>
          <p:spPr>
            <a:xfrm>
              <a:off x="2461016" y="3260132"/>
              <a:ext cx="5384750" cy="1031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b="1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Penggunaan</a:t>
              </a:r>
              <a:r>
                <a:rPr lang="en-US" sz="1400" b="1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b="1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Warna</a:t>
              </a:r>
              <a:r>
                <a:rPr lang="en-US" sz="1400" b="1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menjadi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sebuah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hal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sederhana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namun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penuh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makna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dalam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menampilkan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desain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(web, data,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dll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) 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b="1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Pencarian</a:t>
              </a:r>
              <a:r>
                <a:rPr lang="en-US" sz="1400" b="1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b="1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Warna</a:t>
              </a:r>
              <a:r>
                <a:rPr lang="en-US" sz="1400" b="1" dirty="0">
                  <a:solidFill>
                    <a:prstClr val="black"/>
                  </a:solidFill>
                  <a:latin typeface="Century" panose="02040604050505020304" pitchFamily="18" charset="0"/>
                </a:rPr>
                <a:t> dan Kode </a:t>
              </a:r>
              <a:r>
                <a:rPr lang="en-US" sz="1400" b="1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Warna</a:t>
              </a:r>
              <a:r>
                <a:rPr lang="en-US" sz="1400" b="1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untuk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desain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tersebut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dapat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dipermudah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dengan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prstClr val="black"/>
                  </a:solidFill>
                  <a:latin typeface="Century" panose="02040604050505020304" pitchFamily="18" charset="0"/>
                </a:rPr>
                <a:t>adanya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i="1" dirty="0">
                  <a:solidFill>
                    <a:prstClr val="black"/>
                  </a:solidFill>
                  <a:latin typeface="Century" panose="02040604050505020304" pitchFamily="18" charset="0"/>
                </a:rPr>
                <a:t>Tools Color Generator</a:t>
              </a:r>
              <a:r>
                <a:rPr lang="en-US" sz="1400" dirty="0">
                  <a:solidFill>
                    <a:prstClr val="black"/>
                  </a:solidFill>
                  <a:latin typeface="Century" panose="02040604050505020304" pitchFamily="18" charset="0"/>
                </a:rPr>
                <a:t> 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473290" y="3246763"/>
              <a:ext cx="1241611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0" dirty="0">
                  <a:solidFill>
                    <a:prstClr val="black"/>
                  </a:solidFill>
                  <a:latin typeface="Century Gothic" panose="020B0502020202020204" pitchFamily="34" charset="0"/>
                </a:rPr>
                <a:t>02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2611660" y="2928066"/>
              <a:ext cx="364177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prstClr val="black"/>
                  </a:solidFill>
                  <a:latin typeface="Century" panose="02040604050505020304" pitchFamily="18" charset="0"/>
                </a:rPr>
                <a:t>Ide </a:t>
              </a:r>
              <a:r>
                <a:rPr lang="en-US" b="1" dirty="0">
                  <a:solidFill>
                    <a:srgbClr val="EC7700"/>
                  </a:solidFill>
                  <a:latin typeface="Century" panose="02040604050505020304" pitchFamily="18" charset="0"/>
                </a:rPr>
                <a:t>Project</a:t>
              </a:r>
            </a:p>
          </p:txBody>
        </p:sp>
        <p:cxnSp>
          <p:nvCxnSpPr>
            <p:cNvPr id="27" name="Straight Connector 26"/>
            <p:cNvCxnSpPr/>
            <p:nvPr/>
          </p:nvCxnSpPr>
          <p:spPr>
            <a:xfrm>
              <a:off x="530914" y="4555952"/>
              <a:ext cx="7589520" cy="0"/>
            </a:xfrm>
            <a:prstGeom prst="line">
              <a:avLst/>
            </a:prstGeom>
            <a:ln w="63500">
              <a:gradFill flip="none" rotWithShape="1">
                <a:gsLst>
                  <a:gs pos="0">
                    <a:srgbClr val="F27A00"/>
                  </a:gs>
                  <a:gs pos="51000">
                    <a:srgbClr val="F37B00"/>
                  </a:gs>
                  <a:gs pos="100000">
                    <a:srgbClr val="C16000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Freeform 39"/>
          <p:cNvSpPr/>
          <p:nvPr/>
        </p:nvSpPr>
        <p:spPr>
          <a:xfrm>
            <a:off x="8788032" y="1450620"/>
            <a:ext cx="2066214" cy="1977110"/>
          </a:xfrm>
          <a:custGeom>
            <a:avLst/>
            <a:gdLst>
              <a:gd name="connsiteX0" fmla="*/ 2066214 w 2066214"/>
              <a:gd name="connsiteY0" fmla="*/ 0 h 1977110"/>
              <a:gd name="connsiteX1" fmla="*/ 2066214 w 2066214"/>
              <a:gd name="connsiteY1" fmla="*/ 1560854 h 1977110"/>
              <a:gd name="connsiteX2" fmla="*/ 1307979 w 2066214"/>
              <a:gd name="connsiteY2" fmla="*/ 1964005 h 1977110"/>
              <a:gd name="connsiteX3" fmla="*/ 1300018 w 2066214"/>
              <a:gd name="connsiteY3" fmla="*/ 1977110 h 1977110"/>
              <a:gd name="connsiteX4" fmla="*/ 0 w 2066214"/>
              <a:gd name="connsiteY4" fmla="*/ 1083347 h 1977110"/>
              <a:gd name="connsiteX5" fmla="*/ 125827 w 2066214"/>
              <a:gd name="connsiteY5" fmla="*/ 915081 h 1977110"/>
              <a:gd name="connsiteX6" fmla="*/ 2066214 w 2066214"/>
              <a:gd name="connsiteY6" fmla="*/ 0 h 1977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66214" h="1977110">
                <a:moveTo>
                  <a:pt x="2066214" y="0"/>
                </a:moveTo>
                <a:lnTo>
                  <a:pt x="2066214" y="1560854"/>
                </a:lnTo>
                <a:cubicBezTo>
                  <a:pt x="1750583" y="1560854"/>
                  <a:pt x="1472304" y="1720773"/>
                  <a:pt x="1307979" y="1964005"/>
                </a:cubicBezTo>
                <a:lnTo>
                  <a:pt x="1300018" y="1977110"/>
                </a:lnTo>
                <a:lnTo>
                  <a:pt x="0" y="1083347"/>
                </a:lnTo>
                <a:lnTo>
                  <a:pt x="125827" y="915081"/>
                </a:lnTo>
                <a:cubicBezTo>
                  <a:pt x="587041" y="356218"/>
                  <a:pt x="1285028" y="0"/>
                  <a:pt x="2066214" y="0"/>
                </a:cubicBezTo>
                <a:close/>
              </a:path>
            </a:pathLst>
          </a:custGeom>
          <a:gradFill>
            <a:gsLst>
              <a:gs pos="50000">
                <a:srgbClr val="E93E2C"/>
              </a:gs>
              <a:gs pos="0">
                <a:srgbClr val="EE402D"/>
              </a:gs>
              <a:gs pos="100000">
                <a:srgbClr val="A72A1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2" name="Freeform 41"/>
          <p:cNvSpPr/>
          <p:nvPr/>
        </p:nvSpPr>
        <p:spPr>
          <a:xfrm>
            <a:off x="8358697" y="2516958"/>
            <a:ext cx="1782363" cy="2848332"/>
          </a:xfrm>
          <a:custGeom>
            <a:avLst/>
            <a:gdLst>
              <a:gd name="connsiteX0" fmla="*/ 443086 w 1782363"/>
              <a:gd name="connsiteY0" fmla="*/ 0 h 2848332"/>
              <a:gd name="connsiteX1" fmla="*/ 1743805 w 1782363"/>
              <a:gd name="connsiteY1" fmla="*/ 894245 h 2848332"/>
              <a:gd name="connsiteX2" fmla="*/ 1710563 w 1782363"/>
              <a:gd name="connsiteY2" fmla="*/ 948963 h 2848332"/>
              <a:gd name="connsiteX3" fmla="*/ 1600200 w 1782363"/>
              <a:gd name="connsiteY3" fmla="*/ 1384820 h 2848332"/>
              <a:gd name="connsiteX4" fmla="*/ 1756365 w 1782363"/>
              <a:gd name="connsiteY4" fmla="*/ 1896070 h 2848332"/>
              <a:gd name="connsiteX5" fmla="*/ 1782363 w 1782363"/>
              <a:gd name="connsiteY5" fmla="*/ 1927579 h 2848332"/>
              <a:gd name="connsiteX6" fmla="*/ 443086 w 1782363"/>
              <a:gd name="connsiteY6" fmla="*/ 2848332 h 2848332"/>
              <a:gd name="connsiteX7" fmla="*/ 429455 w 1782363"/>
              <a:gd name="connsiteY7" fmla="*/ 2830103 h 2848332"/>
              <a:gd name="connsiteX8" fmla="*/ 0 w 1782363"/>
              <a:gd name="connsiteY8" fmla="*/ 1424166 h 2848332"/>
              <a:gd name="connsiteX9" fmla="*/ 429455 w 1782363"/>
              <a:gd name="connsiteY9" fmla="*/ 18229 h 2848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82363" h="2848332">
                <a:moveTo>
                  <a:pt x="443086" y="0"/>
                </a:moveTo>
                <a:lnTo>
                  <a:pt x="1743805" y="894245"/>
                </a:lnTo>
                <a:lnTo>
                  <a:pt x="1710563" y="948963"/>
                </a:lnTo>
                <a:cubicBezTo>
                  <a:pt x="1640180" y="1078527"/>
                  <a:pt x="1600200" y="1227005"/>
                  <a:pt x="1600200" y="1384820"/>
                </a:cubicBezTo>
                <a:cubicBezTo>
                  <a:pt x="1600200" y="1574199"/>
                  <a:pt x="1657771" y="1750131"/>
                  <a:pt x="1756365" y="1896070"/>
                </a:cubicBezTo>
                <a:lnTo>
                  <a:pt x="1782363" y="1927579"/>
                </a:lnTo>
                <a:lnTo>
                  <a:pt x="443086" y="2848332"/>
                </a:lnTo>
                <a:lnTo>
                  <a:pt x="429455" y="2830103"/>
                </a:lnTo>
                <a:cubicBezTo>
                  <a:pt x="158319" y="2428770"/>
                  <a:pt x="0" y="1944957"/>
                  <a:pt x="0" y="1424166"/>
                </a:cubicBezTo>
                <a:cubicBezTo>
                  <a:pt x="0" y="903376"/>
                  <a:pt x="158319" y="419562"/>
                  <a:pt x="429455" y="18229"/>
                </a:cubicBezTo>
                <a:close/>
              </a:path>
            </a:pathLst>
          </a:custGeom>
          <a:gradFill>
            <a:gsLst>
              <a:gs pos="50000">
                <a:srgbClr val="F47B00"/>
              </a:gs>
              <a:gs pos="0">
                <a:srgbClr val="F17A00"/>
              </a:gs>
              <a:gs pos="100000">
                <a:srgbClr val="A14F00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4795" y="1828374"/>
            <a:ext cx="840695" cy="835998"/>
          </a:xfrm>
          <a:prstGeom prst="rect">
            <a:avLst/>
          </a:prstGeom>
        </p:spPr>
      </p:pic>
      <p:sp>
        <p:nvSpPr>
          <p:cNvPr id="41" name="Freeform 40"/>
          <p:cNvSpPr/>
          <p:nvPr/>
        </p:nvSpPr>
        <p:spPr>
          <a:xfrm>
            <a:off x="8786550" y="4435468"/>
            <a:ext cx="2067696" cy="2006254"/>
          </a:xfrm>
          <a:custGeom>
            <a:avLst/>
            <a:gdLst>
              <a:gd name="connsiteX0" fmla="*/ 1339529 w 2067696"/>
              <a:gd name="connsiteY0" fmla="*/ 0 h 2006254"/>
              <a:gd name="connsiteX1" fmla="*/ 1421118 w 2067696"/>
              <a:gd name="connsiteY1" fmla="*/ 98887 h 2006254"/>
              <a:gd name="connsiteX2" fmla="*/ 2067696 w 2067696"/>
              <a:gd name="connsiteY2" fmla="*/ 366708 h 2006254"/>
              <a:gd name="connsiteX3" fmla="*/ 2067696 w 2067696"/>
              <a:gd name="connsiteY3" fmla="*/ 2006254 h 2006254"/>
              <a:gd name="connsiteX4" fmla="*/ 127309 w 2067696"/>
              <a:gd name="connsiteY4" fmla="*/ 1091173 h 2006254"/>
              <a:gd name="connsiteX5" fmla="*/ 0 w 2067696"/>
              <a:gd name="connsiteY5" fmla="*/ 920926 h 2006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7696" h="2006254">
                <a:moveTo>
                  <a:pt x="1339529" y="0"/>
                </a:moveTo>
                <a:lnTo>
                  <a:pt x="1421118" y="98887"/>
                </a:lnTo>
                <a:cubicBezTo>
                  <a:pt x="1586592" y="264360"/>
                  <a:pt x="1815192" y="366708"/>
                  <a:pt x="2067696" y="366708"/>
                </a:cubicBezTo>
                <a:lnTo>
                  <a:pt x="2067696" y="2006254"/>
                </a:lnTo>
                <a:cubicBezTo>
                  <a:pt x="1286510" y="2006254"/>
                  <a:pt x="588523" y="1650036"/>
                  <a:pt x="127309" y="1091173"/>
                </a:cubicBezTo>
                <a:lnTo>
                  <a:pt x="0" y="920926"/>
                </a:lnTo>
                <a:close/>
              </a:path>
            </a:pathLst>
          </a:custGeom>
          <a:gradFill>
            <a:gsLst>
              <a:gs pos="50000">
                <a:srgbClr val="3D9FA0"/>
              </a:gs>
              <a:gs pos="0">
                <a:srgbClr val="3EA0A2"/>
              </a:gs>
              <a:gs pos="100000">
                <a:srgbClr val="276D6E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6189" y="3338392"/>
            <a:ext cx="773581" cy="773581"/>
          </a:xfrm>
          <a:prstGeom prst="rect">
            <a:avLst/>
          </a:prstGeom>
        </p:spPr>
      </p:pic>
      <p:grpSp>
        <p:nvGrpSpPr>
          <p:cNvPr id="25" name="Group 24"/>
          <p:cNvGrpSpPr/>
          <p:nvPr/>
        </p:nvGrpSpPr>
        <p:grpSpPr>
          <a:xfrm>
            <a:off x="9541847" y="2798124"/>
            <a:ext cx="2286000" cy="2286000"/>
            <a:chOff x="9541847" y="2798124"/>
            <a:chExt cx="2286000" cy="2286000"/>
          </a:xfrm>
        </p:grpSpPr>
        <p:sp>
          <p:nvSpPr>
            <p:cNvPr id="47" name="Oval 46"/>
            <p:cNvSpPr/>
            <p:nvPr/>
          </p:nvSpPr>
          <p:spPr>
            <a:xfrm>
              <a:off x="9541847" y="2798124"/>
              <a:ext cx="2286000" cy="2286000"/>
            </a:xfrm>
            <a:prstGeom prst="ellipse">
              <a:avLst/>
            </a:prstGeom>
            <a:gradFill flip="none" rotWithShape="1">
              <a:gsLst>
                <a:gs pos="0">
                  <a:srgbClr val="CFCFCF"/>
                </a:gs>
                <a:gs pos="56000">
                  <a:srgbClr val="D2D2D2"/>
                </a:gs>
                <a:gs pos="100000">
                  <a:srgbClr val="FFFFFF"/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sx="103000" sy="103000" algn="l" rotWithShape="0">
                <a:schemeClr val="bg1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3090" y="3143989"/>
              <a:ext cx="1403513" cy="1403513"/>
            </a:xfrm>
            <a:prstGeom prst="rect">
              <a:avLst/>
            </a:prstGeom>
          </p:spPr>
        </p:pic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4961A635-F7C4-4E5E-8030-E59FCEB6A08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64484" y="127852"/>
            <a:ext cx="1553179" cy="69709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1844" y="5162192"/>
            <a:ext cx="886400" cy="87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34209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/>
          <p:cNvSpPr/>
          <p:nvPr/>
        </p:nvSpPr>
        <p:spPr>
          <a:xfrm>
            <a:off x="0" y="899375"/>
            <a:ext cx="12192000" cy="5838486"/>
          </a:xfrm>
          <a:prstGeom prst="rect">
            <a:avLst/>
          </a:prstGeom>
          <a:gradFill flip="none" rotWithShape="1">
            <a:gsLst>
              <a:gs pos="0">
                <a:srgbClr val="FAFBFD"/>
              </a:gs>
              <a:gs pos="84000">
                <a:srgbClr val="CEDCE9"/>
              </a:gs>
              <a:gs pos="100000">
                <a:srgbClr val="CFDBE9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64990" y="41091"/>
            <a:ext cx="89790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prstClr val="black"/>
                </a:solidFill>
                <a:latin typeface="Century" panose="02040604050505020304" pitchFamily="18" charset="0"/>
              </a:rPr>
              <a:t>Random Color Generator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20904" y="907762"/>
            <a:ext cx="11064240" cy="457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42681" y="907762"/>
            <a:ext cx="578223" cy="457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514475" y="1395262"/>
            <a:ext cx="9920166" cy="417108"/>
            <a:chOff x="1514475" y="1395262"/>
            <a:chExt cx="9920166" cy="417108"/>
          </a:xfrm>
        </p:grpSpPr>
        <p:sp>
          <p:nvSpPr>
            <p:cNvPr id="2" name="TextBox 1"/>
            <p:cNvSpPr txBox="1"/>
            <p:nvPr/>
          </p:nvSpPr>
          <p:spPr>
            <a:xfrm>
              <a:off x="1514475" y="1443038"/>
              <a:ext cx="295751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spc="300" dirty="0">
                  <a:latin typeface="Century Gothic" panose="020B0502020202020204" pitchFamily="34" charset="0"/>
                </a:rPr>
                <a:t>HOW</a:t>
              </a:r>
              <a:r>
                <a:rPr lang="en-US" b="1" spc="300" dirty="0">
                  <a:solidFill>
                    <a:srgbClr val="3D9FA0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b="1" spc="300" dirty="0">
                  <a:solidFill>
                    <a:srgbClr val="FF0000"/>
                  </a:solidFill>
                  <a:latin typeface="Century Gothic" panose="020B0502020202020204" pitchFamily="34" charset="0"/>
                </a:rPr>
                <a:t>ITS </a:t>
              </a:r>
              <a:r>
                <a:rPr lang="en-US" b="1" spc="300" dirty="0">
                  <a:solidFill>
                    <a:schemeClr val="accent6">
                      <a:lumMod val="75000"/>
                    </a:schemeClr>
                  </a:solidFill>
                  <a:latin typeface="Century Gothic" panose="020B0502020202020204" pitchFamily="34" charset="0"/>
                </a:rPr>
                <a:t>WORK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7915275" y="1395262"/>
              <a:ext cx="35193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b="1" spc="300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831122" y="3118442"/>
            <a:ext cx="4644891" cy="907902"/>
            <a:chOff x="831122" y="3118442"/>
            <a:chExt cx="4644891" cy="907902"/>
          </a:xfrm>
        </p:grpSpPr>
        <p:sp>
          <p:nvSpPr>
            <p:cNvPr id="87" name="Pentagon 86"/>
            <p:cNvSpPr/>
            <p:nvPr/>
          </p:nvSpPr>
          <p:spPr>
            <a:xfrm>
              <a:off x="1046160" y="3142365"/>
              <a:ext cx="4429853" cy="883979"/>
            </a:xfrm>
            <a:prstGeom prst="homePlate">
              <a:avLst/>
            </a:prstGeom>
            <a:gradFill>
              <a:gsLst>
                <a:gs pos="50000">
                  <a:srgbClr val="F47B00"/>
                </a:gs>
                <a:gs pos="0">
                  <a:srgbClr val="F17A00"/>
                </a:gs>
                <a:gs pos="100000">
                  <a:srgbClr val="A14F00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831122" y="3118442"/>
              <a:ext cx="4350562" cy="8925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indent="-188913">
                <a:buClr>
                  <a:schemeClr val="bg1"/>
                </a:buClr>
                <a:buFont typeface="Arial" pitchFamily="34" charset="0"/>
                <a:buChar char="•"/>
                <a:tabLst>
                  <a:tab pos="400050" algn="l"/>
                </a:tabLst>
              </a:pP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Run program 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  <a:sym typeface="Wingdings" panose="05000000000000000000" pitchFamily="2" charset="2"/>
                </a:rPr>
                <a:t> create main window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  <a:sym typeface="Wingdings" panose="05000000000000000000" pitchFamily="2" charset="2"/>
                </a:rPr>
                <a:t>sesuai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  <a:sym typeface="Wingdings" panose="05000000000000000000" pitchFamily="2" charset="2"/>
                </a:rPr>
                <a:t>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  <a:sym typeface="Wingdings" panose="05000000000000000000" pitchFamily="2" charset="2"/>
                </a:rPr>
                <a:t>ukuran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  <a:sym typeface="Wingdings" panose="05000000000000000000" pitchFamily="2" charset="2"/>
                </a:rPr>
                <a:t> yang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  <a:sym typeface="Wingdings" panose="05000000000000000000" pitchFamily="2" charset="2"/>
                </a:rPr>
                <a:t>ditentukan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 </a:t>
              </a:r>
            </a:p>
            <a:p>
              <a:pPr marL="457200" indent="-188913">
                <a:buClr>
                  <a:schemeClr val="bg1"/>
                </a:buClr>
                <a:buFont typeface="Arial" pitchFamily="34" charset="0"/>
                <a:buChar char="•"/>
                <a:tabLst>
                  <a:tab pos="400050" algn="l"/>
                </a:tabLst>
              </a:pP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Widget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tkinter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akan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menampilkan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default title, label (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warna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,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rgb,hexa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), dan button (generate)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798937" y="4034710"/>
            <a:ext cx="4279716" cy="1156509"/>
            <a:chOff x="798937" y="4034710"/>
            <a:chExt cx="4279716" cy="1156509"/>
          </a:xfrm>
        </p:grpSpPr>
        <p:sp>
          <p:nvSpPr>
            <p:cNvPr id="88" name="Pentagon 87"/>
            <p:cNvSpPr/>
            <p:nvPr/>
          </p:nvSpPr>
          <p:spPr>
            <a:xfrm>
              <a:off x="999412" y="4034710"/>
              <a:ext cx="4079241" cy="1127249"/>
            </a:xfrm>
            <a:prstGeom prst="homePlate">
              <a:avLst/>
            </a:prstGeom>
            <a:gradFill>
              <a:gsLst>
                <a:gs pos="50000">
                  <a:srgbClr val="3D9FA0"/>
                </a:gs>
                <a:gs pos="0">
                  <a:srgbClr val="3EA0A2"/>
                </a:gs>
                <a:gs pos="100000">
                  <a:srgbClr val="276D6E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798937" y="4098612"/>
              <a:ext cx="4152168" cy="1092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indent="-188913">
                <a:buClr>
                  <a:schemeClr val="bg1"/>
                </a:buClr>
                <a:buFont typeface="Arial" pitchFamily="34" charset="0"/>
                <a:buChar char="•"/>
                <a:tabLst>
                  <a:tab pos="400050" algn="l"/>
                </a:tabLst>
              </a:pP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Klik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tombol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Generate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untuk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menghasilkan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warna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secara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random, data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rgb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dan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hexa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dari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warna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yang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dihasilkan</a:t>
              </a:r>
              <a:endParaRPr lang="en-US" sz="1300" dirty="0">
                <a:solidFill>
                  <a:schemeClr val="bg1"/>
                </a:solidFill>
                <a:latin typeface="Century" panose="02040604050505020304" pitchFamily="18" charset="0"/>
              </a:endParaRPr>
            </a:p>
            <a:p>
              <a:pPr marL="457200" indent="-188913">
                <a:buClr>
                  <a:schemeClr val="bg1"/>
                </a:buClr>
                <a:buFont typeface="Arial" pitchFamily="34" charset="0"/>
                <a:buChar char="•"/>
                <a:tabLst>
                  <a:tab pos="400050" algn="l"/>
                </a:tabLst>
              </a:pP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Klik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tombol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Generate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kembali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untuk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menghasilkan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warna</a:t>
              </a:r>
              <a:r>
                <a:rPr lang="en-US" sz="1300" dirty="0">
                  <a:solidFill>
                    <a:schemeClr val="bg1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3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berikutnya</a:t>
              </a:r>
              <a:endParaRPr lang="en-US" sz="1200" dirty="0">
                <a:solidFill>
                  <a:schemeClr val="bg1"/>
                </a:solidFill>
                <a:latin typeface="Century Gothic" pitchFamily="34" charset="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788141" y="2167343"/>
            <a:ext cx="4962930" cy="985397"/>
            <a:chOff x="788141" y="2167343"/>
            <a:chExt cx="4962930" cy="985397"/>
          </a:xfrm>
        </p:grpSpPr>
        <p:sp>
          <p:nvSpPr>
            <p:cNvPr id="86" name="Pentagon 85"/>
            <p:cNvSpPr/>
            <p:nvPr/>
          </p:nvSpPr>
          <p:spPr>
            <a:xfrm>
              <a:off x="1040312" y="2167343"/>
              <a:ext cx="4710759" cy="985397"/>
            </a:xfrm>
            <a:prstGeom prst="homePlate">
              <a:avLst/>
            </a:prstGeom>
            <a:gradFill>
              <a:gsLst>
                <a:gs pos="50000">
                  <a:srgbClr val="E93E2C"/>
                </a:gs>
                <a:gs pos="0">
                  <a:srgbClr val="EE402D"/>
                </a:gs>
                <a:gs pos="100000">
                  <a:srgbClr val="A72A1D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788141" y="2277607"/>
              <a:ext cx="4539863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200" indent="-188913">
                <a:buClr>
                  <a:schemeClr val="bg1"/>
                </a:buClr>
                <a:buFont typeface="Arial" pitchFamily="34" charset="0"/>
                <a:buChar char="•"/>
                <a:tabLst>
                  <a:tab pos="400050" algn="l"/>
                </a:tabLst>
              </a:pPr>
              <a:r>
                <a:rPr lang="en-US" sz="14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Menggunakan</a:t>
              </a:r>
              <a:r>
                <a:rPr lang="en-US" sz="1400" dirty="0">
                  <a:solidFill>
                    <a:schemeClr val="bg1"/>
                  </a:solidFill>
                  <a:latin typeface="Century" panose="02040604050505020304" pitchFamily="18" charset="0"/>
                </a:rPr>
                <a:t> library </a:t>
              </a:r>
              <a:r>
                <a:rPr lang="en-US" sz="14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tkinter</a:t>
              </a:r>
              <a:r>
                <a:rPr lang="en-US" sz="1400" dirty="0">
                  <a:solidFill>
                    <a:schemeClr val="bg1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sebagai</a:t>
              </a:r>
              <a:r>
                <a:rPr lang="en-US" sz="1400" dirty="0">
                  <a:solidFill>
                    <a:schemeClr val="bg1"/>
                  </a:solidFill>
                  <a:latin typeface="Century" panose="02040604050505020304" pitchFamily="18" charset="0"/>
                </a:rPr>
                <a:t> GUI</a:t>
              </a:r>
            </a:p>
            <a:p>
              <a:pPr marL="457200" indent="-188913">
                <a:buClr>
                  <a:schemeClr val="bg1"/>
                </a:buClr>
                <a:buFont typeface="Arial" pitchFamily="34" charset="0"/>
                <a:buChar char="•"/>
                <a:tabLst>
                  <a:tab pos="400050" algn="l"/>
                </a:tabLst>
              </a:pPr>
              <a:r>
                <a:rPr lang="en-US" sz="14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Menggunakan</a:t>
              </a:r>
              <a:r>
                <a:rPr lang="en-US" sz="1400" dirty="0">
                  <a:solidFill>
                    <a:schemeClr val="bg1"/>
                  </a:solidFill>
                  <a:latin typeface="Century" panose="02040604050505020304" pitchFamily="18" charset="0"/>
                </a:rPr>
                <a:t> function choice </a:t>
              </a:r>
              <a:r>
                <a:rPr lang="en-US" sz="14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dari</a:t>
              </a:r>
              <a:r>
                <a:rPr lang="en-US" sz="1400" dirty="0">
                  <a:solidFill>
                    <a:schemeClr val="bg1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modul</a:t>
              </a:r>
              <a:r>
                <a:rPr lang="en-US" sz="1400" dirty="0">
                  <a:solidFill>
                    <a:schemeClr val="bg1"/>
                  </a:solidFill>
                  <a:latin typeface="Century" panose="02040604050505020304" pitchFamily="18" charset="0"/>
                </a:rPr>
                <a:t> random </a:t>
              </a:r>
              <a:r>
                <a:rPr lang="en-US" sz="14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untuk</a:t>
              </a:r>
              <a:r>
                <a:rPr lang="en-US" sz="1400" dirty="0">
                  <a:solidFill>
                    <a:schemeClr val="bg1"/>
                  </a:solidFill>
                  <a:latin typeface="Century" panose="02040604050505020304" pitchFamily="18" charset="0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mengambil</a:t>
              </a:r>
              <a:r>
                <a:rPr lang="en-US" sz="1400" dirty="0">
                  <a:solidFill>
                    <a:schemeClr val="bg1"/>
                  </a:solidFill>
                  <a:latin typeface="Century" panose="02040604050505020304" pitchFamily="18" charset="0"/>
                </a:rPr>
                <a:t> data </a:t>
              </a:r>
              <a:r>
                <a:rPr lang="en-US" sz="1400" dirty="0" err="1">
                  <a:solidFill>
                    <a:schemeClr val="bg1"/>
                  </a:solidFill>
                  <a:latin typeface="Century" panose="02040604050505020304" pitchFamily="18" charset="0"/>
                </a:rPr>
                <a:t>acak</a:t>
              </a:r>
              <a:endParaRPr lang="en-US" sz="1400" dirty="0">
                <a:solidFill>
                  <a:schemeClr val="bg1"/>
                </a:solidFill>
                <a:latin typeface="Century" panose="02040604050505020304" pitchFamily="18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171" y="1063880"/>
            <a:ext cx="1050706" cy="2108528"/>
            <a:chOff x="3171" y="1063880"/>
            <a:chExt cx="1050706" cy="2108528"/>
          </a:xfrm>
        </p:grpSpPr>
        <p:sp>
          <p:nvSpPr>
            <p:cNvPr id="18" name="Rectangle 3"/>
            <p:cNvSpPr/>
            <p:nvPr/>
          </p:nvSpPr>
          <p:spPr>
            <a:xfrm>
              <a:off x="3171" y="1063880"/>
              <a:ext cx="1050706" cy="2108528"/>
            </a:xfrm>
            <a:custGeom>
              <a:avLst/>
              <a:gdLst>
                <a:gd name="connsiteX0" fmla="*/ 0 w 3971925"/>
                <a:gd name="connsiteY0" fmla="*/ 0 h 2228850"/>
                <a:gd name="connsiteX1" fmla="*/ 3971925 w 3971925"/>
                <a:gd name="connsiteY1" fmla="*/ 0 h 2228850"/>
                <a:gd name="connsiteX2" fmla="*/ 3971925 w 3971925"/>
                <a:gd name="connsiteY2" fmla="*/ 2228850 h 2228850"/>
                <a:gd name="connsiteX3" fmla="*/ 0 w 3971925"/>
                <a:gd name="connsiteY3" fmla="*/ 2228850 h 2228850"/>
                <a:gd name="connsiteX4" fmla="*/ 0 w 3971925"/>
                <a:gd name="connsiteY4" fmla="*/ 0 h 2228850"/>
                <a:gd name="connsiteX0" fmla="*/ 0 w 3971925"/>
                <a:gd name="connsiteY0" fmla="*/ 0 h 2228850"/>
                <a:gd name="connsiteX1" fmla="*/ 3971925 w 3971925"/>
                <a:gd name="connsiteY1" fmla="*/ 628650 h 2228850"/>
                <a:gd name="connsiteX2" fmla="*/ 3971925 w 3971925"/>
                <a:gd name="connsiteY2" fmla="*/ 2228850 h 2228850"/>
                <a:gd name="connsiteX3" fmla="*/ 0 w 3971925"/>
                <a:gd name="connsiteY3" fmla="*/ 2228850 h 2228850"/>
                <a:gd name="connsiteX4" fmla="*/ 0 w 3971925"/>
                <a:gd name="connsiteY4" fmla="*/ 0 h 2228850"/>
                <a:gd name="connsiteX0" fmla="*/ 0 w 3971925"/>
                <a:gd name="connsiteY0" fmla="*/ 0 h 2786062"/>
                <a:gd name="connsiteX1" fmla="*/ 3971925 w 3971925"/>
                <a:gd name="connsiteY1" fmla="*/ 628650 h 2786062"/>
                <a:gd name="connsiteX2" fmla="*/ 3971925 w 3971925"/>
                <a:gd name="connsiteY2" fmla="*/ 2786062 h 2786062"/>
                <a:gd name="connsiteX3" fmla="*/ 0 w 3971925"/>
                <a:gd name="connsiteY3" fmla="*/ 2228850 h 2786062"/>
                <a:gd name="connsiteX4" fmla="*/ 0 w 3971925"/>
                <a:gd name="connsiteY4" fmla="*/ 0 h 2786062"/>
                <a:gd name="connsiteX0" fmla="*/ 0 w 3971925"/>
                <a:gd name="connsiteY0" fmla="*/ 0 h 2786062"/>
                <a:gd name="connsiteX1" fmla="*/ 3971925 w 3971925"/>
                <a:gd name="connsiteY1" fmla="*/ 1271587 h 2786062"/>
                <a:gd name="connsiteX2" fmla="*/ 3971925 w 3971925"/>
                <a:gd name="connsiteY2" fmla="*/ 2786062 h 2786062"/>
                <a:gd name="connsiteX3" fmla="*/ 0 w 3971925"/>
                <a:gd name="connsiteY3" fmla="*/ 2228850 h 2786062"/>
                <a:gd name="connsiteX4" fmla="*/ 0 w 3971925"/>
                <a:gd name="connsiteY4" fmla="*/ 0 h 2786062"/>
                <a:gd name="connsiteX0" fmla="*/ 0 w 3998404"/>
                <a:gd name="connsiteY0" fmla="*/ 0 h 2786062"/>
                <a:gd name="connsiteX1" fmla="*/ 3998404 w 3998404"/>
                <a:gd name="connsiteY1" fmla="*/ 1814512 h 2786062"/>
                <a:gd name="connsiteX2" fmla="*/ 3971925 w 3998404"/>
                <a:gd name="connsiteY2" fmla="*/ 2786062 h 2786062"/>
                <a:gd name="connsiteX3" fmla="*/ 0 w 3998404"/>
                <a:gd name="connsiteY3" fmla="*/ 2228850 h 2786062"/>
                <a:gd name="connsiteX4" fmla="*/ 0 w 3998404"/>
                <a:gd name="connsiteY4" fmla="*/ 0 h 2786062"/>
                <a:gd name="connsiteX0" fmla="*/ 0 w 3998404"/>
                <a:gd name="connsiteY0" fmla="*/ 0 h 2786062"/>
                <a:gd name="connsiteX1" fmla="*/ 3998404 w 3998404"/>
                <a:gd name="connsiteY1" fmla="*/ 1814512 h 2786062"/>
                <a:gd name="connsiteX2" fmla="*/ 3971925 w 3998404"/>
                <a:gd name="connsiteY2" fmla="*/ 2786062 h 2786062"/>
                <a:gd name="connsiteX3" fmla="*/ 26480 w 3998404"/>
                <a:gd name="connsiteY3" fmla="*/ 1700212 h 2786062"/>
                <a:gd name="connsiteX4" fmla="*/ 0 w 3998404"/>
                <a:gd name="connsiteY4" fmla="*/ 0 h 2786062"/>
                <a:gd name="connsiteX0" fmla="*/ 1764 w 4000168"/>
                <a:gd name="connsiteY0" fmla="*/ 0 h 2786062"/>
                <a:gd name="connsiteX1" fmla="*/ 4000168 w 4000168"/>
                <a:gd name="connsiteY1" fmla="*/ 1814512 h 2786062"/>
                <a:gd name="connsiteX2" fmla="*/ 3973689 w 4000168"/>
                <a:gd name="connsiteY2" fmla="*/ 2786062 h 2786062"/>
                <a:gd name="connsiteX3" fmla="*/ 0 w 4000168"/>
                <a:gd name="connsiteY3" fmla="*/ 1700212 h 2786062"/>
                <a:gd name="connsiteX4" fmla="*/ 1764 w 4000168"/>
                <a:gd name="connsiteY4" fmla="*/ 0 h 2786062"/>
                <a:gd name="connsiteX0" fmla="*/ 1764 w 4000168"/>
                <a:gd name="connsiteY0" fmla="*/ 0 h 2786062"/>
                <a:gd name="connsiteX1" fmla="*/ 4000168 w 4000168"/>
                <a:gd name="connsiteY1" fmla="*/ 1480683 h 2786062"/>
                <a:gd name="connsiteX2" fmla="*/ 3973689 w 4000168"/>
                <a:gd name="connsiteY2" fmla="*/ 2786062 h 2786062"/>
                <a:gd name="connsiteX3" fmla="*/ 0 w 4000168"/>
                <a:gd name="connsiteY3" fmla="*/ 1700212 h 2786062"/>
                <a:gd name="connsiteX4" fmla="*/ 1764 w 4000168"/>
                <a:gd name="connsiteY4" fmla="*/ 0 h 2786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168" h="2786062">
                  <a:moveTo>
                    <a:pt x="1764" y="0"/>
                  </a:moveTo>
                  <a:lnTo>
                    <a:pt x="4000168" y="1480683"/>
                  </a:lnTo>
                  <a:lnTo>
                    <a:pt x="3973689" y="2786062"/>
                  </a:lnTo>
                  <a:lnTo>
                    <a:pt x="0" y="1700212"/>
                  </a:lnTo>
                  <a:lnTo>
                    <a:pt x="1764" y="0"/>
                  </a:lnTo>
                  <a:close/>
                </a:path>
              </a:pathLst>
            </a:custGeom>
            <a:gradFill flip="none" rotWithShape="1">
              <a:gsLst>
                <a:gs pos="50000">
                  <a:srgbClr val="E93E2C"/>
                </a:gs>
                <a:gs pos="0">
                  <a:srgbClr val="EE402D"/>
                </a:gs>
                <a:gs pos="100000">
                  <a:srgbClr val="A72A1D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78739" y="1742147"/>
              <a:ext cx="9525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rPr>
                <a:t>01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0" y="2277742"/>
            <a:ext cx="1053877" cy="1748603"/>
            <a:chOff x="0" y="2277742"/>
            <a:chExt cx="1053877" cy="1748603"/>
          </a:xfrm>
        </p:grpSpPr>
        <p:sp>
          <p:nvSpPr>
            <p:cNvPr id="83" name="Rectangle 4"/>
            <p:cNvSpPr/>
            <p:nvPr/>
          </p:nvSpPr>
          <p:spPr>
            <a:xfrm>
              <a:off x="0" y="2277742"/>
              <a:ext cx="1053877" cy="1748603"/>
            </a:xfrm>
            <a:custGeom>
              <a:avLst/>
              <a:gdLst>
                <a:gd name="connsiteX0" fmla="*/ 0 w 1060704"/>
                <a:gd name="connsiteY0" fmla="*/ 0 h 1655064"/>
                <a:gd name="connsiteX1" fmla="*/ 1060704 w 1060704"/>
                <a:gd name="connsiteY1" fmla="*/ 0 h 1655064"/>
                <a:gd name="connsiteX2" fmla="*/ 1060704 w 1060704"/>
                <a:gd name="connsiteY2" fmla="*/ 1655064 h 1655064"/>
                <a:gd name="connsiteX3" fmla="*/ 0 w 1060704"/>
                <a:gd name="connsiteY3" fmla="*/ 1655064 h 1655064"/>
                <a:gd name="connsiteX4" fmla="*/ 0 w 1060704"/>
                <a:gd name="connsiteY4" fmla="*/ 0 h 1655064"/>
                <a:gd name="connsiteX0" fmla="*/ 0 w 1060704"/>
                <a:gd name="connsiteY0" fmla="*/ 0 h 1655064"/>
                <a:gd name="connsiteX1" fmla="*/ 1051179 w 1060704"/>
                <a:gd name="connsiteY1" fmla="*/ 638175 h 1655064"/>
                <a:gd name="connsiteX2" fmla="*/ 1060704 w 1060704"/>
                <a:gd name="connsiteY2" fmla="*/ 1655064 h 1655064"/>
                <a:gd name="connsiteX3" fmla="*/ 0 w 1060704"/>
                <a:gd name="connsiteY3" fmla="*/ 1655064 h 1655064"/>
                <a:gd name="connsiteX4" fmla="*/ 0 w 1060704"/>
                <a:gd name="connsiteY4" fmla="*/ 0 h 1655064"/>
                <a:gd name="connsiteX0" fmla="*/ 0 w 1060704"/>
                <a:gd name="connsiteY0" fmla="*/ 0 h 1655064"/>
                <a:gd name="connsiteX1" fmla="*/ 1044829 w 1060704"/>
                <a:gd name="connsiteY1" fmla="*/ 989249 h 1655064"/>
                <a:gd name="connsiteX2" fmla="*/ 1060704 w 1060704"/>
                <a:gd name="connsiteY2" fmla="*/ 1655064 h 1655064"/>
                <a:gd name="connsiteX3" fmla="*/ 0 w 1060704"/>
                <a:gd name="connsiteY3" fmla="*/ 1655064 h 1655064"/>
                <a:gd name="connsiteX4" fmla="*/ 0 w 1060704"/>
                <a:gd name="connsiteY4" fmla="*/ 0 h 1655064"/>
                <a:gd name="connsiteX0" fmla="*/ 0 w 1060704"/>
                <a:gd name="connsiteY0" fmla="*/ 0 h 1655064"/>
                <a:gd name="connsiteX1" fmla="*/ 1051972 w 1060704"/>
                <a:gd name="connsiteY1" fmla="*/ 1015578 h 1655064"/>
                <a:gd name="connsiteX2" fmla="*/ 1060704 w 1060704"/>
                <a:gd name="connsiteY2" fmla="*/ 1655064 h 1655064"/>
                <a:gd name="connsiteX3" fmla="*/ 0 w 1060704"/>
                <a:gd name="connsiteY3" fmla="*/ 1655064 h 1655064"/>
                <a:gd name="connsiteX4" fmla="*/ 0 w 1060704"/>
                <a:gd name="connsiteY4" fmla="*/ 0 h 1655064"/>
                <a:gd name="connsiteX0" fmla="*/ 0 w 1055941"/>
                <a:gd name="connsiteY0" fmla="*/ 0 h 1670110"/>
                <a:gd name="connsiteX1" fmla="*/ 1051972 w 1055941"/>
                <a:gd name="connsiteY1" fmla="*/ 1015578 h 1670110"/>
                <a:gd name="connsiteX2" fmla="*/ 1055941 w 1055941"/>
                <a:gd name="connsiteY2" fmla="*/ 1670110 h 1670110"/>
                <a:gd name="connsiteX3" fmla="*/ 0 w 1055941"/>
                <a:gd name="connsiteY3" fmla="*/ 1655064 h 1670110"/>
                <a:gd name="connsiteX4" fmla="*/ 0 w 1055941"/>
                <a:gd name="connsiteY4" fmla="*/ 0 h 1670110"/>
                <a:gd name="connsiteX0" fmla="*/ 0 w 1061497"/>
                <a:gd name="connsiteY0" fmla="*/ 0 h 1670110"/>
                <a:gd name="connsiteX1" fmla="*/ 1061497 w 1061497"/>
                <a:gd name="connsiteY1" fmla="*/ 1008056 h 1670110"/>
                <a:gd name="connsiteX2" fmla="*/ 1055941 w 1061497"/>
                <a:gd name="connsiteY2" fmla="*/ 1670110 h 1670110"/>
                <a:gd name="connsiteX3" fmla="*/ 0 w 1061497"/>
                <a:gd name="connsiteY3" fmla="*/ 1655064 h 1670110"/>
                <a:gd name="connsiteX4" fmla="*/ 0 w 1061497"/>
                <a:gd name="connsiteY4" fmla="*/ 0 h 1670110"/>
                <a:gd name="connsiteX0" fmla="*/ 0 w 1055941"/>
                <a:gd name="connsiteY0" fmla="*/ 0 h 1670110"/>
                <a:gd name="connsiteX1" fmla="*/ 1053877 w 1055941"/>
                <a:gd name="connsiteY1" fmla="*/ 1008056 h 1670110"/>
                <a:gd name="connsiteX2" fmla="*/ 1055941 w 1055941"/>
                <a:gd name="connsiteY2" fmla="*/ 1670110 h 1670110"/>
                <a:gd name="connsiteX3" fmla="*/ 0 w 1055941"/>
                <a:gd name="connsiteY3" fmla="*/ 1655064 h 1670110"/>
                <a:gd name="connsiteX4" fmla="*/ 0 w 1055941"/>
                <a:gd name="connsiteY4" fmla="*/ 0 h 1670110"/>
                <a:gd name="connsiteX0" fmla="*/ 0 w 1053877"/>
                <a:gd name="connsiteY0" fmla="*/ 0 h 1658073"/>
                <a:gd name="connsiteX1" fmla="*/ 1053877 w 1053877"/>
                <a:gd name="connsiteY1" fmla="*/ 1008056 h 1658073"/>
                <a:gd name="connsiteX2" fmla="*/ 1048321 w 1053877"/>
                <a:gd name="connsiteY2" fmla="*/ 1658073 h 1658073"/>
                <a:gd name="connsiteX3" fmla="*/ 0 w 1053877"/>
                <a:gd name="connsiteY3" fmla="*/ 1655064 h 1658073"/>
                <a:gd name="connsiteX4" fmla="*/ 0 w 1053877"/>
                <a:gd name="connsiteY4" fmla="*/ 0 h 1658073"/>
                <a:gd name="connsiteX0" fmla="*/ 0 w 1053877"/>
                <a:gd name="connsiteY0" fmla="*/ 0 h 1658073"/>
                <a:gd name="connsiteX1" fmla="*/ 1053877 w 1053877"/>
                <a:gd name="connsiteY1" fmla="*/ 836107 h 1658073"/>
                <a:gd name="connsiteX2" fmla="*/ 1048321 w 1053877"/>
                <a:gd name="connsiteY2" fmla="*/ 1658073 h 1658073"/>
                <a:gd name="connsiteX3" fmla="*/ 0 w 1053877"/>
                <a:gd name="connsiteY3" fmla="*/ 1655064 h 1658073"/>
                <a:gd name="connsiteX4" fmla="*/ 0 w 1053877"/>
                <a:gd name="connsiteY4" fmla="*/ 0 h 1658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3877" h="1658073">
                  <a:moveTo>
                    <a:pt x="0" y="0"/>
                  </a:moveTo>
                  <a:lnTo>
                    <a:pt x="1053877" y="836107"/>
                  </a:lnTo>
                  <a:lnTo>
                    <a:pt x="1048321" y="1658073"/>
                  </a:lnTo>
                  <a:lnTo>
                    <a:pt x="0" y="165506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50000">
                  <a:srgbClr val="F47B00"/>
                </a:gs>
                <a:gs pos="0">
                  <a:srgbClr val="F17A00"/>
                </a:gs>
                <a:gs pos="100000">
                  <a:srgbClr val="A14F00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70158" y="3030369"/>
              <a:ext cx="9525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rPr>
                <a:t>02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952" y="4013078"/>
            <a:ext cx="1051559" cy="1857952"/>
            <a:chOff x="952" y="4013078"/>
            <a:chExt cx="1051559" cy="1857952"/>
          </a:xfrm>
        </p:grpSpPr>
        <p:sp>
          <p:nvSpPr>
            <p:cNvPr id="84" name="Rectangle 6"/>
            <p:cNvSpPr/>
            <p:nvPr/>
          </p:nvSpPr>
          <p:spPr>
            <a:xfrm>
              <a:off x="952" y="4013078"/>
              <a:ext cx="1051559" cy="1857952"/>
            </a:xfrm>
            <a:custGeom>
              <a:avLst/>
              <a:gdLst>
                <a:gd name="connsiteX0" fmla="*/ 0 w 1057275"/>
                <a:gd name="connsiteY0" fmla="*/ 0 h 1051560"/>
                <a:gd name="connsiteX1" fmla="*/ 1057275 w 1057275"/>
                <a:gd name="connsiteY1" fmla="*/ 0 h 1051560"/>
                <a:gd name="connsiteX2" fmla="*/ 1057275 w 1057275"/>
                <a:gd name="connsiteY2" fmla="*/ 1051560 h 1051560"/>
                <a:gd name="connsiteX3" fmla="*/ 0 w 1057275"/>
                <a:gd name="connsiteY3" fmla="*/ 1051560 h 1051560"/>
                <a:gd name="connsiteX4" fmla="*/ 0 w 1057275"/>
                <a:gd name="connsiteY4" fmla="*/ 0 h 1051560"/>
                <a:gd name="connsiteX0" fmla="*/ 0 w 1057275"/>
                <a:gd name="connsiteY0" fmla="*/ 0 h 1051560"/>
                <a:gd name="connsiteX1" fmla="*/ 1057275 w 1057275"/>
                <a:gd name="connsiteY1" fmla="*/ 0 h 1051560"/>
                <a:gd name="connsiteX2" fmla="*/ 1054100 w 1057275"/>
                <a:gd name="connsiteY2" fmla="*/ 635635 h 1051560"/>
                <a:gd name="connsiteX3" fmla="*/ 0 w 1057275"/>
                <a:gd name="connsiteY3" fmla="*/ 1051560 h 1051560"/>
                <a:gd name="connsiteX4" fmla="*/ 0 w 1057275"/>
                <a:gd name="connsiteY4" fmla="*/ 0 h 1051560"/>
                <a:gd name="connsiteX0" fmla="*/ 0 w 1054156"/>
                <a:gd name="connsiteY0" fmla="*/ 0 h 1051560"/>
                <a:gd name="connsiteX1" fmla="*/ 1042035 w 1054156"/>
                <a:gd name="connsiteY1" fmla="*/ 7620 h 1051560"/>
                <a:gd name="connsiteX2" fmla="*/ 1054100 w 1054156"/>
                <a:gd name="connsiteY2" fmla="*/ 635635 h 1051560"/>
                <a:gd name="connsiteX3" fmla="*/ 0 w 1054156"/>
                <a:gd name="connsiteY3" fmla="*/ 1051560 h 1051560"/>
                <a:gd name="connsiteX4" fmla="*/ 0 w 1054156"/>
                <a:gd name="connsiteY4" fmla="*/ 0 h 1051560"/>
                <a:gd name="connsiteX0" fmla="*/ 0 w 1042035"/>
                <a:gd name="connsiteY0" fmla="*/ 0 h 1051560"/>
                <a:gd name="connsiteX1" fmla="*/ 1042035 w 1042035"/>
                <a:gd name="connsiteY1" fmla="*/ 7620 h 1051560"/>
                <a:gd name="connsiteX2" fmla="*/ 1023620 w 1042035"/>
                <a:gd name="connsiteY2" fmla="*/ 635635 h 1051560"/>
                <a:gd name="connsiteX3" fmla="*/ 0 w 1042035"/>
                <a:gd name="connsiteY3" fmla="*/ 1051560 h 1051560"/>
                <a:gd name="connsiteX4" fmla="*/ 0 w 1042035"/>
                <a:gd name="connsiteY4" fmla="*/ 0 h 1051560"/>
                <a:gd name="connsiteX0" fmla="*/ 0 w 1042035"/>
                <a:gd name="connsiteY0" fmla="*/ 0 h 1051560"/>
                <a:gd name="connsiteX1" fmla="*/ 1042035 w 1042035"/>
                <a:gd name="connsiteY1" fmla="*/ 7620 h 1051560"/>
                <a:gd name="connsiteX2" fmla="*/ 1038860 w 1042035"/>
                <a:gd name="connsiteY2" fmla="*/ 635635 h 1051560"/>
                <a:gd name="connsiteX3" fmla="*/ 0 w 1042035"/>
                <a:gd name="connsiteY3" fmla="*/ 1051560 h 1051560"/>
                <a:gd name="connsiteX4" fmla="*/ 0 w 1042035"/>
                <a:gd name="connsiteY4" fmla="*/ 0 h 1051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2035" h="1051560">
                  <a:moveTo>
                    <a:pt x="0" y="0"/>
                  </a:moveTo>
                  <a:lnTo>
                    <a:pt x="1042035" y="7620"/>
                  </a:lnTo>
                  <a:cubicBezTo>
                    <a:pt x="1040977" y="219498"/>
                    <a:pt x="1039918" y="423757"/>
                    <a:pt x="1038860" y="635635"/>
                  </a:cubicBezTo>
                  <a:lnTo>
                    <a:pt x="0" y="105156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50000">
                  <a:srgbClr val="3D9FA0"/>
                </a:gs>
                <a:gs pos="0">
                  <a:srgbClr val="3EA0A2"/>
                </a:gs>
                <a:gs pos="100000">
                  <a:srgbClr val="276D6E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87812" y="4365689"/>
              <a:ext cx="9525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rPr>
                <a:t>03</a:t>
              </a:r>
            </a:p>
          </p:txBody>
        </p:sp>
      </p:grpSp>
      <p:sp>
        <p:nvSpPr>
          <p:cNvPr id="6" name="AutoShape 4" descr="Database free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495C044B-1FAD-4332-8A3C-39D47D9565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64484" y="127852"/>
            <a:ext cx="1553179" cy="697096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8B284663-6627-48B2-B39C-0187A54EB6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46348" y="907762"/>
            <a:ext cx="4727863" cy="2971576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D8BD99C2-3BE0-4048-A791-80312327716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76013" y="3896034"/>
            <a:ext cx="4672288" cy="2961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271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B0F0776-9733-4054-9570-E574C15F3899}"/>
              </a:ext>
            </a:extLst>
          </p:cNvPr>
          <p:cNvGrpSpPr/>
          <p:nvPr/>
        </p:nvGrpSpPr>
        <p:grpSpPr>
          <a:xfrm>
            <a:off x="-1112197" y="1280"/>
            <a:ext cx="14549716" cy="7010400"/>
            <a:chOff x="-1112197" y="1280"/>
            <a:chExt cx="14549716" cy="7010400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0" y="1280"/>
              <a:ext cx="12192000" cy="7010400"/>
            </a:xfrm>
            <a:prstGeom prst="rect">
              <a:avLst/>
            </a:prstGeom>
          </p:spPr>
        </p:pic>
        <p:sp>
          <p:nvSpPr>
            <p:cNvPr id="5" name="Parallelogram 4"/>
            <p:cNvSpPr/>
            <p:nvPr/>
          </p:nvSpPr>
          <p:spPr>
            <a:xfrm>
              <a:off x="-1112197" y="4087905"/>
              <a:ext cx="6790764" cy="1304364"/>
            </a:xfrm>
            <a:prstGeom prst="parallelogram">
              <a:avLst>
                <a:gd name="adj" fmla="val 56959"/>
              </a:avLst>
            </a:prstGeom>
            <a:gradFill flip="none" rotWithShape="1">
              <a:gsLst>
                <a:gs pos="0">
                  <a:srgbClr val="D40000"/>
                </a:gs>
                <a:gs pos="50000">
                  <a:srgbClr val="FF3030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" name="Parallelogram 5"/>
            <p:cNvSpPr/>
            <p:nvPr/>
          </p:nvSpPr>
          <p:spPr>
            <a:xfrm>
              <a:off x="5261708" y="3568731"/>
              <a:ext cx="8175811" cy="1304364"/>
            </a:xfrm>
            <a:prstGeom prst="parallelogram">
              <a:avLst>
                <a:gd name="adj" fmla="val 56959"/>
              </a:avLst>
            </a:prstGeom>
            <a:gradFill>
              <a:gsLst>
                <a:gs pos="0">
                  <a:srgbClr val="D40000"/>
                </a:gs>
                <a:gs pos="50000">
                  <a:srgbClr val="FF2A2A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" name="Isosceles Triangle 6"/>
            <p:cNvSpPr/>
            <p:nvPr/>
          </p:nvSpPr>
          <p:spPr>
            <a:xfrm rot="18055663">
              <a:off x="5230339" y="3986979"/>
              <a:ext cx="391351" cy="355836"/>
            </a:xfrm>
            <a:prstGeom prst="triangle">
              <a:avLst>
                <a:gd name="adj" fmla="val 48440"/>
              </a:avLst>
            </a:prstGeom>
            <a:solidFill>
              <a:srgbClr val="D80C0C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566183" y="4016812"/>
              <a:ext cx="3797835" cy="14465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800" b="1" dirty="0">
                  <a:solidFill>
                    <a:prstClr val="white">
                      <a:lumMod val="95000"/>
                    </a:prstClr>
                  </a:solidFill>
                  <a:latin typeface="Century Gothic" panose="020B0502020202020204" pitchFamily="34" charset="0"/>
                </a:rPr>
                <a:t>THANK</a:t>
              </a:r>
              <a:endParaRPr lang="en-US" sz="8800" dirty="0">
                <a:solidFill>
                  <a:prstClr val="white">
                    <a:lumMod val="95000"/>
                  </a:prstClr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7882786" y="3547334"/>
              <a:ext cx="2555508" cy="14465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800" b="1" dirty="0">
                  <a:solidFill>
                    <a:prstClr val="white">
                      <a:lumMod val="95000"/>
                    </a:prstClr>
                  </a:solidFill>
                  <a:latin typeface="Century Gothic" panose="020B0502020202020204" pitchFamily="34" charset="0"/>
                </a:rPr>
                <a:t>YOU</a:t>
              </a:r>
              <a:endParaRPr lang="en-US" sz="8800" dirty="0">
                <a:solidFill>
                  <a:prstClr val="white">
                    <a:lumMod val="95000"/>
                  </a:prst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2225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15</TotalTime>
  <Words>205</Words>
  <Application>Microsoft Office PowerPoint</Application>
  <PresentationFormat>Widescreen</PresentationFormat>
  <Paragraphs>35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4" baseType="lpstr">
      <vt:lpstr>Arial</vt:lpstr>
      <vt:lpstr>Calibri</vt:lpstr>
      <vt:lpstr>Calibri Light</vt:lpstr>
      <vt:lpstr>Century</vt:lpstr>
      <vt:lpstr>Century Gothic</vt:lpstr>
      <vt:lpstr>Whitney</vt:lpstr>
      <vt:lpstr>Office Theme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>PT Telkoms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erry_Wyman</dc:creator>
  <cp:lastModifiedBy>Taofik_Haryanto</cp:lastModifiedBy>
  <cp:revision>103</cp:revision>
  <dcterms:created xsi:type="dcterms:W3CDTF">2018-07-20T08:59:36Z</dcterms:created>
  <dcterms:modified xsi:type="dcterms:W3CDTF">2021-06-19T14:00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971231c-3ede-40bb-b23c-c29bcf987ee6_Enabled">
    <vt:lpwstr>true</vt:lpwstr>
  </property>
  <property fmtid="{D5CDD505-2E9C-101B-9397-08002B2CF9AE}" pid="3" name="MSIP_Label_7971231c-3ede-40bb-b23c-c29bcf987ee6_SetDate">
    <vt:lpwstr>2021-06-19T13:44:35Z</vt:lpwstr>
  </property>
  <property fmtid="{D5CDD505-2E9C-101B-9397-08002B2CF9AE}" pid="4" name="MSIP_Label_7971231c-3ede-40bb-b23c-c29bcf987ee6_Method">
    <vt:lpwstr>Privileged</vt:lpwstr>
  </property>
  <property fmtid="{D5CDD505-2E9C-101B-9397-08002B2CF9AE}" pid="5" name="MSIP_Label_7971231c-3ede-40bb-b23c-c29bcf987ee6_Name">
    <vt:lpwstr>Public</vt:lpwstr>
  </property>
  <property fmtid="{D5CDD505-2E9C-101B-9397-08002B2CF9AE}" pid="6" name="MSIP_Label_7971231c-3ede-40bb-b23c-c29bcf987ee6_SiteId">
    <vt:lpwstr>fc743075-93ed-4a5c-82c0-ca5eac914220</vt:lpwstr>
  </property>
  <property fmtid="{D5CDD505-2E9C-101B-9397-08002B2CF9AE}" pid="7" name="MSIP_Label_7971231c-3ede-40bb-b23c-c29bcf987ee6_ActionId">
    <vt:lpwstr>d411f8fd-243c-4a5e-95c4-cb367af26670</vt:lpwstr>
  </property>
  <property fmtid="{D5CDD505-2E9C-101B-9397-08002B2CF9AE}" pid="8" name="MSIP_Label_7971231c-3ede-40bb-b23c-c29bcf987ee6_ContentBits">
    <vt:lpwstr>0</vt:lpwstr>
  </property>
</Properties>
</file>